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7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2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3.xml" ContentType="application/vnd.openxmlformats-officedocument.themeOverr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4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5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98756"/>
    <a:srgbClr val="F07B06"/>
    <a:srgbClr val="FDE6B8"/>
    <a:srgbClr val="002C46"/>
    <a:srgbClr val="FDDA95"/>
    <a:srgbClr val="FFFFFF"/>
    <a:srgbClr val="FBC14E"/>
    <a:srgbClr val="EBEEF2"/>
    <a:srgbClr val="AABFD6"/>
    <a:srgbClr val="8497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C0C69C-588A-4555-B7EC-279C64A865E0}" v="106" dt="2023-03-15T21:28:29.2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 varScale="1">
        <p:scale>
          <a:sx n="106" d="100"/>
          <a:sy n="106" d="100"/>
        </p:scale>
        <p:origin x="16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7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8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9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0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11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12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4.bin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5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</a:t>
            </a:r>
            <a:r>
              <a:rPr lang="en-US" baseline="0"/>
              <a:t> Contribution From Each Sales Segment (Grouped By Unit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001 Private Water Hedge Sales</c:v>
          </c:tx>
          <c:spPr>
            <a:solidFill>
              <a:schemeClr val="accent1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3"/>
              <c:pt idx="0">
                <c:v>Kootha</c:v>
              </c:pt>
              <c:pt idx="1">
                <c:v>Surjek</c:v>
              </c:pt>
              <c:pt idx="2">
                <c:v>Jutik</c:v>
              </c:pt>
            </c:strLit>
          </c:cat>
          <c:val>
            <c:numRef>
              <c:f>'Revenue Analysis'!$B$64:$B$66</c:f>
              <c:numCache>
                <c:formatCode>"$"#,##0.00;[Red]\-"$"#,##0.00</c:formatCode>
                <c:ptCount val="3"/>
                <c:pt idx="0">
                  <c:v>37118738.908649988</c:v>
                </c:pt>
                <c:pt idx="1">
                  <c:v>82448062.153750017</c:v>
                </c:pt>
                <c:pt idx="2">
                  <c:v>67860510.57375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C2-4C6C-8D89-8F705E6BD08E}"/>
            </c:ext>
          </c:extLst>
        </c:ser>
        <c:ser>
          <c:idx val="1"/>
          <c:order val="1"/>
          <c:tx>
            <c:v>002 Public Sales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3"/>
              <c:pt idx="0">
                <c:v>Kootha</c:v>
              </c:pt>
              <c:pt idx="1">
                <c:v>Surjek</c:v>
              </c:pt>
              <c:pt idx="2">
                <c:v>Jutik</c:v>
              </c:pt>
            </c:strLit>
          </c:cat>
          <c:val>
            <c:numRef>
              <c:f>'Revenue Analysis'!$C$64:$C$66</c:f>
              <c:numCache>
                <c:formatCode>"$"#,##0.00;[Red]\-"$"#,##0.00</c:formatCode>
                <c:ptCount val="3"/>
                <c:pt idx="0">
                  <c:v>18271699.227782957</c:v>
                </c:pt>
                <c:pt idx="1">
                  <c:v>70562398.047100008</c:v>
                </c:pt>
                <c:pt idx="2">
                  <c:v>58098022.0742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C2-4C6C-8D89-8F705E6BD08E}"/>
            </c:ext>
          </c:extLst>
        </c:ser>
        <c:ser>
          <c:idx val="2"/>
          <c:order val="2"/>
          <c:tx>
            <c:v>003 Residential Sales</c:v>
          </c:tx>
          <c:spPr>
            <a:solidFill>
              <a:schemeClr val="accent1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3"/>
              <c:pt idx="0">
                <c:v>Kootha</c:v>
              </c:pt>
              <c:pt idx="1">
                <c:v>Surjek</c:v>
              </c:pt>
              <c:pt idx="2">
                <c:v>Jutik</c:v>
              </c:pt>
            </c:strLit>
          </c:cat>
          <c:val>
            <c:numRef>
              <c:f>'Revenue Analysis'!$D$64:$D$66</c:f>
              <c:numCache>
                <c:formatCode>"$"#,##0.00;[Red]\-"$"#,##0.00</c:formatCode>
                <c:ptCount val="3"/>
                <c:pt idx="0">
                  <c:v>15554519.161720002</c:v>
                </c:pt>
                <c:pt idx="1">
                  <c:v>49244888.96814999</c:v>
                </c:pt>
                <c:pt idx="2">
                  <c:v>37706692.72894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C2-4C6C-8D89-8F705E6BD08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94152704"/>
        <c:axId val="1687655680"/>
      </c:barChart>
      <c:catAx>
        <c:axId val="1694152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7655680"/>
        <c:crosses val="autoZero"/>
        <c:auto val="1"/>
        <c:lblAlgn val="ctr"/>
        <c:lblOffset val="100"/>
        <c:noMultiLvlLbl val="0"/>
      </c:catAx>
      <c:valAx>
        <c:axId val="1687655680"/>
        <c:scaling>
          <c:orientation val="minMax"/>
          <c:max val="200000000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4152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 Expenses (Year-Ending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FD-47FC-BFF9-466E2BEF6E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FD-47FC-BFF9-466E2BEF6E1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FD-47FC-BFF9-466E2BEF6E1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1FD-47FC-BFF9-466E2BEF6E16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1FD-47FC-BFF9-466E2BEF6E16}"/>
              </c:ext>
            </c:extLst>
          </c:dPt>
          <c:dPt>
            <c:idx val="6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1FD-47FC-BFF9-466E2BEF6E1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1FD-47FC-BFF9-466E2BEF6E16}"/>
              </c:ext>
            </c:extLst>
          </c:dPt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1FD-47FC-BFF9-466E2BEF6E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6664063"/>
        <c:axId val="774737343"/>
      </c:barChart>
      <c:catAx>
        <c:axId val="176664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737343"/>
        <c:crosses val="autoZero"/>
        <c:auto val="1"/>
        <c:lblAlgn val="ctr"/>
        <c:lblOffset val="100"/>
        <c:noMultiLvlLbl val="0"/>
      </c:catAx>
      <c:valAx>
        <c:axId val="774737343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664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</a:t>
            </a:r>
            <a:r>
              <a:rPr lang="en-US" baseline="0"/>
              <a:t> Chemical Expenditure Vs. Water Production (Jul-13 to June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hem-Exp (001)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1-45B4-905C-B003DDCDDF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2554832"/>
        <c:axId val="1551984944"/>
      </c:barChart>
      <c:lineChart>
        <c:grouping val="standard"/>
        <c:varyColors val="0"/>
        <c:ser>
          <c:idx val="1"/>
          <c:order val="1"/>
          <c:tx>
            <c:v>Water Production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val>
            <c:numRef>
              <c:f>'Expenses Analysis'!$F$110:$Q$110</c:f>
              <c:numCache>
                <c:formatCode>"$"#,##0.00;[Red]\-"$"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D41-45B4-905C-B003DDCDDF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2547872"/>
        <c:axId val="1552003184"/>
      </c:lineChart>
      <c:dateAx>
        <c:axId val="40255483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1984944"/>
        <c:crosses val="autoZero"/>
        <c:auto val="1"/>
        <c:lblOffset val="100"/>
        <c:baseTimeUnit val="months"/>
      </c:dateAx>
      <c:valAx>
        <c:axId val="1551984944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2554832"/>
        <c:crosses val="autoZero"/>
        <c:crossBetween val="between"/>
      </c:valAx>
      <c:valAx>
        <c:axId val="1552003184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2547872"/>
        <c:crosses val="max"/>
        <c:crossBetween val="between"/>
      </c:valAx>
      <c:catAx>
        <c:axId val="402547872"/>
        <c:scaling>
          <c:orientation val="minMax"/>
        </c:scaling>
        <c:delete val="1"/>
        <c:axPos val="b"/>
        <c:majorTickMark val="out"/>
        <c:minorTickMark val="none"/>
        <c:tickLblPos val="nextTo"/>
        <c:crossAx val="155200318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</a:t>
            </a:r>
            <a:r>
              <a:rPr lang="en-US" baseline="0"/>
              <a:t> Chemical Expenditure Vs. Total Water Production Actuals (Jul-13 to June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hem-Exp (001)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B3-4809-A2B8-E66FAA5843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91311360"/>
        <c:axId val="1591938448"/>
      </c:barChart>
      <c:lineChart>
        <c:grouping val="standard"/>
        <c:varyColors val="0"/>
        <c:ser>
          <c:idx val="1"/>
          <c:order val="1"/>
          <c:tx>
            <c:v>Water Production Actual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val>
            <c:numRef>
              <c:f>'Expenses Analysis'!$F$111:$Q$111</c:f>
              <c:numCache>
                <c:formatCode>"$"#,##0.00;[Red]\-"$"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8B3-4809-A2B8-E66FAA5843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9431184"/>
        <c:axId val="1591946128"/>
      </c:lineChart>
      <c:dateAx>
        <c:axId val="29131136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1938448"/>
        <c:crosses val="autoZero"/>
        <c:auto val="1"/>
        <c:lblOffset val="100"/>
        <c:baseTimeUnit val="months"/>
      </c:dateAx>
      <c:valAx>
        <c:axId val="1591938448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1311360"/>
        <c:crosses val="autoZero"/>
        <c:crossBetween val="between"/>
      </c:valAx>
      <c:valAx>
        <c:axId val="1591946128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9431184"/>
        <c:crosses val="max"/>
        <c:crossBetween val="between"/>
      </c:valAx>
      <c:catAx>
        <c:axId val="289431184"/>
        <c:scaling>
          <c:orientation val="minMax"/>
        </c:scaling>
        <c:delete val="1"/>
        <c:axPos val="b"/>
        <c:majorTickMark val="out"/>
        <c:minorTickMark val="none"/>
        <c:tickLblPos val="nextTo"/>
        <c:crossAx val="15919461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</a:t>
            </a:r>
            <a:r>
              <a:rPr lang="en-US" baseline="0"/>
              <a:t> Chemical Expenditure Vs. Water Production Actuals (Jul-13 to June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hem-Exp (001)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A4-41E3-8347-AB41AD0360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5382816"/>
        <c:axId val="1687642720"/>
      </c:barChart>
      <c:lineChart>
        <c:grouping val="standard"/>
        <c:varyColors val="0"/>
        <c:ser>
          <c:idx val="1"/>
          <c:order val="1"/>
          <c:tx>
            <c:v>Water Production Actual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val>
            <c:numRef>
              <c:f>'Expenses Analysis'!$F$112:$Q$112</c:f>
              <c:numCache>
                <c:formatCode>"$"#,##0.00;[Red]\-"$"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2A4-41E3-8347-AB41AD0360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5412048"/>
        <c:axId val="1687669600"/>
      </c:lineChart>
      <c:dateAx>
        <c:axId val="445382816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7642720"/>
        <c:crosses val="autoZero"/>
        <c:auto val="1"/>
        <c:lblOffset val="100"/>
        <c:baseTimeUnit val="months"/>
      </c:dateAx>
      <c:valAx>
        <c:axId val="1687642720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5382816"/>
        <c:crosses val="autoZero"/>
        <c:crossBetween val="between"/>
      </c:valAx>
      <c:valAx>
        <c:axId val="1687669600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5412048"/>
        <c:crosses val="max"/>
        <c:crossBetween val="between"/>
      </c:valAx>
      <c:catAx>
        <c:axId val="445412048"/>
        <c:scaling>
          <c:orientation val="minMax"/>
        </c:scaling>
        <c:delete val="1"/>
        <c:axPos val="b"/>
        <c:majorTickMark val="out"/>
        <c:minorTickMark val="none"/>
        <c:tickLblPos val="nextTo"/>
        <c:crossAx val="168766960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</a:t>
            </a:r>
            <a:r>
              <a:rPr lang="en-US" baseline="0"/>
              <a:t> EBIT (Jul-13 to June  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A9F-4561-A963-DC53E3BEB98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A9F-4561-A963-DC53E3BEB98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Analysis'!$A$25:$A$2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25:$Q$27</c:f>
              <c:numCache>
                <c:formatCode>"$"#,##0.00;[Red]\-"$"#,##0.00</c:formatCode>
                <c:ptCount val="3"/>
                <c:pt idx="0">
                  <c:v>19721133.205825485</c:v>
                </c:pt>
                <c:pt idx="1">
                  <c:v>22936250.12903415</c:v>
                </c:pt>
                <c:pt idx="2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9F-4561-A963-DC53E3BEB98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551379872"/>
        <c:axId val="1551982544"/>
      </c:barChart>
      <c:catAx>
        <c:axId val="1551379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1982544"/>
        <c:crosses val="autoZero"/>
        <c:auto val="1"/>
        <c:lblAlgn val="ctr"/>
        <c:lblOffset val="100"/>
        <c:noMultiLvlLbl val="0"/>
      </c:catAx>
      <c:valAx>
        <c:axId val="1551982544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1379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</a:t>
            </a:r>
            <a:r>
              <a:rPr lang="en-US" baseline="0"/>
              <a:t> Trends (Jul-13 to June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208114610673666"/>
          <c:y val="0.17634259259259263"/>
          <c:w val="0.84569663167104114"/>
          <c:h val="0.6714577865266842"/>
        </c:manualLayout>
      </c:layout>
      <c:lineChart>
        <c:grouping val="standard"/>
        <c:varyColors val="0"/>
        <c:ser>
          <c:idx val="0"/>
          <c:order val="0"/>
          <c:tx>
            <c:v>Kootha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EBIT Analysis'!$E$56:$P$5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8:$P$58</c:f>
              <c:numCache>
                <c:formatCode>0.0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12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8</c:v>
                </c:pt>
                <c:pt idx="7">
                  <c:v>0.36170053874987812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EC-401C-807C-C3C70DA122C7}"/>
            </c:ext>
          </c:extLst>
        </c:ser>
        <c:ser>
          <c:idx val="1"/>
          <c:order val="1"/>
          <c:tx>
            <c:v>Surjek</c:v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cat>
            <c:numRef>
              <c:f>'EBIT Analysis'!$E$56:$P$5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9:$P$59</c:f>
              <c:numCache>
                <c:formatCode>0.0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795834271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189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3EC-401C-807C-C3C70DA122C7}"/>
            </c:ext>
          </c:extLst>
        </c:ser>
        <c:ser>
          <c:idx val="2"/>
          <c:order val="2"/>
          <c:tx>
            <c:v>Jutik</c:v>
          </c:tx>
          <c:spPr>
            <a:ln w="28575" cap="rnd">
              <a:solidFill>
                <a:srgbClr val="FBC14E">
                  <a:lumMod val="75000"/>
                </a:srgb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FBC14E">
                  <a:lumMod val="75000"/>
                </a:srgbClr>
              </a:solidFill>
              <a:ln w="9525">
                <a:solidFill>
                  <a:srgbClr val="FBC14E">
                    <a:lumMod val="75000"/>
                  </a:srgbClr>
                </a:solidFill>
              </a:ln>
              <a:effectLst/>
            </c:spPr>
          </c:marker>
          <c:cat>
            <c:numRef>
              <c:f>'EBIT Analysis'!$E$56:$P$5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60:$P$60</c:f>
              <c:numCache>
                <c:formatCode>0.0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3EC-401C-807C-C3C70DA122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1249936"/>
        <c:axId val="1687670080"/>
      </c:lineChart>
      <c:dateAx>
        <c:axId val="44124993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7670080"/>
        <c:crosses val="autoZero"/>
        <c:auto val="1"/>
        <c:lblOffset val="100"/>
        <c:baseTimeUnit val="months"/>
      </c:dateAx>
      <c:valAx>
        <c:axId val="1687670080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1249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</a:t>
            </a:r>
            <a:r>
              <a:rPr lang="en-US" baseline="0"/>
              <a:t> By Unit (Jul-13 to June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Kootha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5:$P$25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1D-461C-8489-AB429F0CB8D7}"/>
            </c:ext>
          </c:extLst>
        </c:ser>
        <c:ser>
          <c:idx val="1"/>
          <c:order val="1"/>
          <c:tx>
            <c:v>Surjek</c:v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6:$P$26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1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1D-461C-8489-AB429F0CB8D7}"/>
            </c:ext>
          </c:extLst>
        </c:ser>
        <c:ser>
          <c:idx val="2"/>
          <c:order val="2"/>
          <c:tx>
            <c:v>Jutik</c:v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7:$P$27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A1D-461C-8489-AB429F0CB8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20192304"/>
        <c:axId val="1655212880"/>
      </c:barChart>
      <c:dateAx>
        <c:axId val="112019230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5212880"/>
        <c:crosses val="autoZero"/>
        <c:auto val="1"/>
        <c:lblOffset val="100"/>
        <c:baseTimeUnit val="months"/>
      </c:dateAx>
      <c:valAx>
        <c:axId val="1655212880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20192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Overall Contribution</a:t>
            </a:r>
            <a:r>
              <a:rPr lang="en-US" baseline="0" dirty="0"/>
              <a:t> From Each Sales Segment (Grouped By Unit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Revenue Analysis'!$B$68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1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69:$A$71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B$69:$B$71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40764341953130878</c:v>
                </c:pt>
                <c:pt idx="2">
                  <c:v>0.41462998885337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E-4A61-B30F-7A4352D7F028}"/>
            </c:ext>
          </c:extLst>
        </c:ser>
        <c:ser>
          <c:idx val="1"/>
          <c:order val="1"/>
          <c:tx>
            <c:strRef>
              <c:f>'Revenue Analysis'!$C$68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69:$A$71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C$69:$C$71</c:f>
              <c:numCache>
                <c:formatCode>0.0%</c:formatCode>
                <c:ptCount val="3"/>
                <c:pt idx="0">
                  <c:v>0.25754754000336344</c:v>
                </c:pt>
                <c:pt idx="1">
                  <c:v>0.34887778413286691</c:v>
                </c:pt>
                <c:pt idx="2">
                  <c:v>0.35498085766522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CE-4A61-B30F-7A4352D7F028}"/>
            </c:ext>
          </c:extLst>
        </c:ser>
        <c:ser>
          <c:idx val="2"/>
          <c:order val="2"/>
          <c:tx>
            <c:strRef>
              <c:f>'Revenue Analysis'!$D$68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1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69:$A$71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D$69:$D$71</c:f>
              <c:numCache>
                <c:formatCode>0.0%</c:formatCode>
                <c:ptCount val="3"/>
                <c:pt idx="0">
                  <c:v>0.21924770630773166</c:v>
                </c:pt>
                <c:pt idx="1">
                  <c:v>0.24347879633582434</c:v>
                </c:pt>
                <c:pt idx="2">
                  <c:v>0.23038915348140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CE-4A61-B30F-7A4352D7F02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231482032"/>
        <c:axId val="220803488"/>
      </c:barChart>
      <c:catAx>
        <c:axId val="231482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0803488"/>
        <c:crosses val="autoZero"/>
        <c:auto val="1"/>
        <c:lblAlgn val="ctr"/>
        <c:lblOffset val="100"/>
        <c:noMultiLvlLbl val="0"/>
      </c:catAx>
      <c:valAx>
        <c:axId val="220803488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1482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</a:t>
            </a:r>
            <a:r>
              <a:rPr lang="en-US" baseline="0"/>
              <a:t> Revenues (Jul-13 to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v>001 Private Water Hedge Sales</c:v>
          </c:tx>
          <c:spPr>
            <a:ln w="28575" cap="rnd">
              <a:solidFill>
                <a:schemeClr val="accent1">
                  <a:shade val="86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1">
                  <a:shade val="86000"/>
                </a:schemeClr>
              </a:solidFill>
              <a:ln w="9525">
                <a:solidFill>
                  <a:schemeClr val="accent1">
                    <a:shade val="86000"/>
                  </a:schemeClr>
                </a:solidFill>
              </a:ln>
              <a:effectLst/>
            </c:spPr>
          </c:marker>
          <c:cat>
            <c:numRef>
              <c:f>'Revenue Analysis'!$E$35:$P$35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7:$P$37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368-4387-ACF8-5F9EA4E76724}"/>
            </c:ext>
          </c:extLst>
        </c:ser>
        <c:ser>
          <c:idx val="2"/>
          <c:order val="2"/>
          <c:tx>
            <c:v>002 Public Sales</c:v>
          </c:tx>
          <c:spPr>
            <a:ln w="28575" cap="rnd">
              <a:solidFill>
                <a:schemeClr val="accent1">
                  <a:tint val="86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1">
                  <a:tint val="86000"/>
                </a:schemeClr>
              </a:solidFill>
              <a:ln w="9525">
                <a:solidFill>
                  <a:schemeClr val="accent1">
                    <a:tint val="86000"/>
                  </a:schemeClr>
                </a:solidFill>
              </a:ln>
              <a:effectLst/>
            </c:spPr>
          </c:marker>
          <c:cat>
            <c:numRef>
              <c:f>'Revenue Analysis'!$E$35:$P$35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8:$P$38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368-4387-ACF8-5F9EA4E76724}"/>
            </c:ext>
          </c:extLst>
        </c:ser>
        <c:ser>
          <c:idx val="3"/>
          <c:order val="3"/>
          <c:tx>
            <c:v>003 Residential Sales</c:v>
          </c:tx>
          <c:spPr>
            <a:ln w="28575" cap="rnd">
              <a:solidFill>
                <a:schemeClr val="accent1">
                  <a:tint val="58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1">
                  <a:tint val="58000"/>
                </a:schemeClr>
              </a:solidFill>
              <a:ln w="9525">
                <a:solidFill>
                  <a:schemeClr val="accent1">
                    <a:tint val="58000"/>
                  </a:schemeClr>
                </a:solidFill>
              </a:ln>
              <a:effectLst/>
            </c:spPr>
          </c:marker>
          <c:cat>
            <c:numRef>
              <c:f>'Revenue Analysis'!$E$35:$P$35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9:$P$39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368-4387-ACF8-5F9EA4E767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4939616"/>
        <c:axId val="442102304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spPr>
                  <a:ln w="28575" cap="rnd">
                    <a:solidFill>
                      <a:schemeClr val="accent1">
                        <a:shade val="58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Revenue Analysis'!$E$35:$P$35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Revenue Analysis'!$E$36:$P$36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4368-4387-ACF8-5F9EA4E76724}"/>
                  </c:ext>
                </c:extLst>
              </c15:ser>
            </c15:filteredLineSeries>
          </c:ext>
        </c:extLst>
      </c:lineChart>
      <c:dateAx>
        <c:axId val="47493961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2102304"/>
        <c:crosses val="autoZero"/>
        <c:auto val="1"/>
        <c:lblOffset val="100"/>
        <c:baseTimeUnit val="months"/>
      </c:dateAx>
      <c:valAx>
        <c:axId val="442102304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4939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</a:t>
            </a:r>
            <a:r>
              <a:rPr lang="en-US" baseline="0"/>
              <a:t> Revenues (Jul-13 to June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001 Private Water Hedge Sales</c:v>
          </c:tx>
          <c:spPr>
            <a:ln w="28575" cap="rnd">
              <a:solidFill>
                <a:schemeClr val="accent6">
                  <a:shade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shade val="65000"/>
                </a:schemeClr>
              </a:solidFill>
              <a:ln w="9525">
                <a:solidFill>
                  <a:schemeClr val="accent6">
                    <a:shade val="65000"/>
                  </a:schemeClr>
                </a:solidFill>
              </a:ln>
              <a:effectLst/>
            </c:spPr>
          </c:marker>
          <c:cat>
            <c:numRef>
              <c:f>'Revenue Analysis'!$E$35:$P$35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2:$P$42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AEA-4523-A6AC-645B6FBCA157}"/>
            </c:ext>
          </c:extLst>
        </c:ser>
        <c:ser>
          <c:idx val="1"/>
          <c:order val="1"/>
          <c:tx>
            <c:v>002 Public Sales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Revenue Analysis'!$E$35:$P$35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3:$P$43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AEA-4523-A6AC-645B6FBCA157}"/>
            </c:ext>
          </c:extLst>
        </c:ser>
        <c:ser>
          <c:idx val="2"/>
          <c:order val="2"/>
          <c:tx>
            <c:v>003 Residential Sales</c:v>
          </c:tx>
          <c:spPr>
            <a:ln w="28575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65000"/>
                </a:schemeClr>
              </a:solidFill>
              <a:ln w="9525">
                <a:solidFill>
                  <a:schemeClr val="accent6">
                    <a:tint val="65000"/>
                  </a:schemeClr>
                </a:solidFill>
              </a:ln>
              <a:effectLst/>
            </c:spPr>
          </c:marker>
          <c:cat>
            <c:numRef>
              <c:f>'Revenue Analysis'!$E$35:$P$35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4:$P$44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A-4523-A6AC-645B6FBCA1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6560432"/>
        <c:axId val="508103648"/>
      </c:lineChart>
      <c:dateAx>
        <c:axId val="44656043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8103648"/>
        <c:crosses val="autoZero"/>
        <c:auto val="1"/>
        <c:lblOffset val="100"/>
        <c:baseTimeUnit val="months"/>
      </c:dateAx>
      <c:valAx>
        <c:axId val="508103648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560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</a:t>
            </a:r>
            <a:r>
              <a:rPr lang="en-US" baseline="0"/>
              <a:t> Revenues (Jul-13 to June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001 Private Water Hedge Sales</c:v>
          </c:tx>
          <c:spPr>
            <a:ln w="28575" cap="rnd">
              <a:solidFill>
                <a:schemeClr val="accent4">
                  <a:shade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4">
                  <a:shade val="65000"/>
                </a:schemeClr>
              </a:solidFill>
              <a:ln w="9525">
                <a:solidFill>
                  <a:schemeClr val="accent4">
                    <a:shade val="65000"/>
                  </a:schemeClr>
                </a:solidFill>
              </a:ln>
              <a:effectLst/>
            </c:spPr>
          </c:marker>
          <c:cat>
            <c:numRef>
              <c:f>'Revenue Analysis'!$E$35:$P$35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7:$P$47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C0-4074-A8EF-BFD8FEDA7FFC}"/>
            </c:ext>
          </c:extLst>
        </c:ser>
        <c:ser>
          <c:idx val="1"/>
          <c:order val="1"/>
          <c:tx>
            <c:v>002 Public Sales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Revenue Analysis'!$E$35:$P$35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8:$P$48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C0-4074-A8EF-BFD8FEDA7FFC}"/>
            </c:ext>
          </c:extLst>
        </c:ser>
        <c:ser>
          <c:idx val="2"/>
          <c:order val="2"/>
          <c:tx>
            <c:v>003 Residential Sales</c:v>
          </c:tx>
          <c:spPr>
            <a:ln w="28575" cap="rnd">
              <a:solidFill>
                <a:schemeClr val="accent4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4">
                  <a:tint val="65000"/>
                </a:schemeClr>
              </a:solidFill>
              <a:ln w="9525">
                <a:solidFill>
                  <a:schemeClr val="accent4">
                    <a:tint val="65000"/>
                  </a:schemeClr>
                </a:solidFill>
              </a:ln>
              <a:effectLst/>
            </c:spPr>
          </c:marker>
          <c:cat>
            <c:numRef>
              <c:f>'Revenue Analysis'!$E$35:$P$35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9:$P$49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C0-4074-A8EF-BFD8FEDA7F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965936"/>
        <c:axId val="513467424"/>
      </c:lineChart>
      <c:dateAx>
        <c:axId val="52196593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467424"/>
        <c:crosses val="autoZero"/>
        <c:auto val="1"/>
        <c:lblOffset val="100"/>
        <c:baseTimeUnit val="months"/>
      </c:dateAx>
      <c:valAx>
        <c:axId val="513467424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965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</a:t>
            </a:r>
            <a:r>
              <a:rPr lang="en-US" baseline="0"/>
              <a:t> Expenses (Jul-13 to June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Kootha</c:v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5">
                  <a:shade val="65000"/>
                </a:schemeClr>
              </a:solidFill>
              <a:ln w="9525">
                <a:solidFill>
                  <a:schemeClr val="accent5">
                    <a:shade val="65000"/>
                  </a:schemeClr>
                </a:solidFill>
              </a:ln>
              <a:effectLst/>
            </c:spPr>
          </c:marker>
          <c:cat>
            <c:numRef>
              <c:f>'[Southern Water Corp Financial Case Study MCU Brandon Chisnell.xlsx]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Brandon Chisnell.xlsx]Expenses Analysis'!$F$23:$Q$23</c:f>
              <c:numCache>
                <c:formatCode>"$"#,##0.00;[Red]\-"$"#,##0.00</c:formatCode>
                <c:ptCount val="12"/>
                <c:pt idx="0">
                  <c:v>3458288.8701338647</c:v>
                </c:pt>
                <c:pt idx="1">
                  <c:v>4778353.3521016249</c:v>
                </c:pt>
                <c:pt idx="2">
                  <c:v>3741007.0627661142</c:v>
                </c:pt>
                <c:pt idx="3">
                  <c:v>3550828.7945508747</c:v>
                </c:pt>
                <c:pt idx="4">
                  <c:v>3646543.42684625</c:v>
                </c:pt>
                <c:pt idx="5">
                  <c:v>3507223.3581475001</c:v>
                </c:pt>
                <c:pt idx="6">
                  <c:v>5249820.3494999986</c:v>
                </c:pt>
                <c:pt idx="7">
                  <c:v>4419792.6823125007</c:v>
                </c:pt>
                <c:pt idx="8">
                  <c:v>4409725.4715</c:v>
                </c:pt>
                <c:pt idx="9">
                  <c:v>4419304.3184062503</c:v>
                </c:pt>
                <c:pt idx="10">
                  <c:v>4692799.18359375</c:v>
                </c:pt>
                <c:pt idx="11">
                  <c:v>5350137.2224687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A25-4551-AB48-9A6F02E4EB31}"/>
            </c:ext>
          </c:extLst>
        </c:ser>
        <c:ser>
          <c:idx val="1"/>
          <c:order val="1"/>
          <c:tx>
            <c:v>Surjek</c:v>
          </c:tx>
          <c:spPr>
            <a:ln w="28575" cap="rnd">
              <a:solidFill>
                <a:srgbClr val="29875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rgbClr val="298756"/>
              </a:solidFill>
              <a:ln w="9525">
                <a:solidFill>
                  <a:srgbClr val="298756"/>
                </a:solidFill>
              </a:ln>
              <a:effectLst/>
            </c:spPr>
          </c:marker>
          <c:cat>
            <c:numRef>
              <c:f>'[Southern Water Corp Financial Case Study MCU Brandon Chisnell.xlsx]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Brandon Chisnell.xlsx]Expenses Analysis'!$F$33:$Q$33</c:f>
              <c:numCache>
                <c:formatCode>"$"#,##0.00;[Red]\-"$"#,##0.00</c:formatCode>
                <c:ptCount val="12"/>
                <c:pt idx="0">
                  <c:v>11339551.170386208</c:v>
                </c:pt>
                <c:pt idx="1">
                  <c:v>13660880.3343936</c:v>
                </c:pt>
                <c:pt idx="2">
                  <c:v>13806947.680280834</c:v>
                </c:pt>
                <c:pt idx="3">
                  <c:v>18511924.382331077</c:v>
                </c:pt>
                <c:pt idx="4">
                  <c:v>20025365.089240894</c:v>
                </c:pt>
                <c:pt idx="5">
                  <c:v>12958942.643539203</c:v>
                </c:pt>
                <c:pt idx="6">
                  <c:v>13987466.323076401</c:v>
                </c:pt>
                <c:pt idx="7">
                  <c:v>16468493.156715602</c:v>
                </c:pt>
                <c:pt idx="8">
                  <c:v>15013580.580213603</c:v>
                </c:pt>
                <c:pt idx="9">
                  <c:v>16135503.054039603</c:v>
                </c:pt>
                <c:pt idx="10">
                  <c:v>18921373.302216005</c:v>
                </c:pt>
                <c:pt idx="11">
                  <c:v>8489071.3235327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A25-4551-AB48-9A6F02E4EB31}"/>
            </c:ext>
          </c:extLst>
        </c:ser>
        <c:ser>
          <c:idx val="2"/>
          <c:order val="2"/>
          <c:tx>
            <c:v>Jutik</c:v>
          </c:tx>
          <c:spPr>
            <a:ln w="28575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4">
                  <a:lumMod val="75000"/>
                </a:schemeClr>
              </a:solidFill>
              <a:ln w="9525">
                <a:solidFill>
                  <a:schemeClr val="accent4">
                    <a:lumMod val="75000"/>
                  </a:schemeClr>
                </a:solidFill>
              </a:ln>
              <a:effectLst/>
            </c:spPr>
          </c:marker>
          <c:cat>
            <c:numRef>
              <c:f>'[Southern Water Corp Financial Case Study MCU Brandon Chisnell.xlsx]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Brandon Chisnell.xlsx]Expenses Analysis'!$F$43:$Q$43</c:f>
              <c:numCache>
                <c:formatCode>"$"#,##0.00;[Red]\-"$"#,##0.00</c:formatCode>
                <c:ptCount val="12"/>
                <c:pt idx="0">
                  <c:v>8168998.5802924205</c:v>
                </c:pt>
                <c:pt idx="1">
                  <c:v>6508016.2729576789</c:v>
                </c:pt>
                <c:pt idx="2">
                  <c:v>8797296.0201469176</c:v>
                </c:pt>
                <c:pt idx="3">
                  <c:v>7399801.6649996387</c:v>
                </c:pt>
                <c:pt idx="4">
                  <c:v>6292597.87327509</c:v>
                </c:pt>
                <c:pt idx="5">
                  <c:v>5862551.4695474999</c:v>
                </c:pt>
                <c:pt idx="6">
                  <c:v>7198677.8148285002</c:v>
                </c:pt>
                <c:pt idx="7">
                  <c:v>7481708.9511677492</c:v>
                </c:pt>
                <c:pt idx="8">
                  <c:v>8690888.6165351253</c:v>
                </c:pt>
                <c:pt idx="9">
                  <c:v>6732277.631081</c:v>
                </c:pt>
                <c:pt idx="10">
                  <c:v>8110761.1219654996</c:v>
                </c:pt>
                <c:pt idx="11">
                  <c:v>9479913.2630085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A25-4551-AB48-9A6F02E4EB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9427728"/>
        <c:axId val="119282176"/>
      </c:lineChart>
      <c:dateAx>
        <c:axId val="64942772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282176"/>
        <c:crosses val="autoZero"/>
        <c:auto val="1"/>
        <c:lblOffset val="100"/>
        <c:baseTimeUnit val="months"/>
      </c:dateAx>
      <c:valAx>
        <c:axId val="119282176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9427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ggregate Expenses By</a:t>
            </a:r>
            <a:r>
              <a:rPr lang="en-US" baseline="0" dirty="0"/>
              <a:t> Cost Center Element </a:t>
            </a:r>
            <a:br>
              <a:rPr lang="en-US" baseline="0" dirty="0"/>
            </a:br>
            <a:r>
              <a:rPr lang="en-US" baseline="0" dirty="0"/>
              <a:t>(Year-End June-14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0A-456A-A8BB-9972304E5867}"/>
              </c:ext>
            </c:extLst>
          </c:dPt>
          <c:dPt>
            <c:idx val="1"/>
            <c:invertIfNegative val="0"/>
            <c:bubble3D val="0"/>
            <c:spPr>
              <a:solidFill>
                <a:srgbClr val="29875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0A-456A-A8BB-9972304E5867}"/>
              </c:ext>
            </c:extLst>
          </c:dPt>
          <c:dPt>
            <c:idx val="2"/>
            <c:invertIfNegative val="0"/>
            <c:bubble3D val="0"/>
            <c:spPr>
              <a:solidFill>
                <a:srgbClr val="FBC14E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B0A-456A-A8BB-9972304E5867}"/>
              </c:ext>
            </c:extLst>
          </c:dPt>
          <c:dPt>
            <c:idx val="3"/>
            <c:invertIfNegative val="0"/>
            <c:bubble3D val="0"/>
            <c:spPr>
              <a:solidFill>
                <a:srgbClr val="FFFFFF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A-456A-A8BB-9972304E5867}"/>
              </c:ext>
            </c:extLst>
          </c:dPt>
          <c:dPt>
            <c:idx val="4"/>
            <c:invertIfNegative val="0"/>
            <c:bubble3D val="0"/>
            <c:spPr>
              <a:solidFill>
                <a:srgbClr val="F07B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B0A-456A-A8BB-9972304E5867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FB0A-456A-A8BB-9972304E5867}"/>
              </c:ext>
            </c:extLst>
          </c:dPt>
          <c:dPt>
            <c:idx val="6"/>
            <c:invertIfNegative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FB0A-456A-A8BB-9972304E5867}"/>
              </c:ext>
            </c:extLst>
          </c:dPt>
          <c:dPt>
            <c:idx val="7"/>
            <c:invertIfNegative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FB0A-456A-A8BB-9972304E5867}"/>
              </c:ext>
            </c:extLst>
          </c:dPt>
          <c:dLbls>
            <c:dLbl>
              <c:idx val="1"/>
              <c:layout>
                <c:manualLayout>
                  <c:x val="2.8208964009137929E-3"/>
                  <c:y val="-8.0929594893819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B0A-456A-A8BB-9972304E5867}"/>
                </c:ext>
              </c:extLst>
            </c:dLbl>
            <c:dLbl>
              <c:idx val="2"/>
              <c:layout>
                <c:manualLayout>
                  <c:x val="-2.8208964009137929E-3"/>
                  <c:y val="-3.85379023303899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B0A-456A-A8BB-9972304E5867}"/>
                </c:ext>
              </c:extLst>
            </c:dLbl>
            <c:dLbl>
              <c:idx val="4"/>
              <c:layout>
                <c:manualLayout>
                  <c:x val="2.8208964009136892E-3"/>
                  <c:y val="-0.131028867923325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B0A-456A-A8BB-9972304E5867}"/>
                </c:ext>
              </c:extLst>
            </c:dLbl>
            <c:dLbl>
              <c:idx val="6"/>
              <c:layout>
                <c:manualLayout>
                  <c:x val="-1.4104482004569067E-2"/>
                  <c:y val="-9.24909655929360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B0A-456A-A8BB-9972304E5867}"/>
                </c:ext>
              </c:extLst>
            </c:dLbl>
            <c:dLbl>
              <c:idx val="7"/>
              <c:layout>
                <c:manualLayout>
                  <c:x val="-2.0686334636398193E-16"/>
                  <c:y val="-1.15613706991170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B0A-456A-A8BB-9972304E58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MCU Brandon Chisnell.xlsx]Expenses Analysis'!$D$49:$D$56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Case Study MCU Brandon Chisnell.xlsx]Expenses Analysis'!$R$49:$R$56</c:f>
              <c:numCache>
                <c:formatCode>"$"#,##0.00;[Red]\-"$"#,##0.00</c:formatCode>
                <c:ptCount val="8"/>
                <c:pt idx="0">
                  <c:v>78413350.257664919</c:v>
                </c:pt>
                <c:pt idx="1">
                  <c:v>38717591.397570275</c:v>
                </c:pt>
                <c:pt idx="2">
                  <c:v>36414827.690372624</c:v>
                </c:pt>
                <c:pt idx="3">
                  <c:v>31752797.278513506</c:v>
                </c:pt>
                <c:pt idx="4">
                  <c:v>16735122.996921198</c:v>
                </c:pt>
                <c:pt idx="5">
                  <c:v>21090666.556378298</c:v>
                </c:pt>
                <c:pt idx="6">
                  <c:v>10813424.6638656</c:v>
                </c:pt>
                <c:pt idx="7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B0A-456A-A8BB-9972304E586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003499712"/>
        <c:axId val="1025115040"/>
      </c:barChart>
      <c:catAx>
        <c:axId val="1003499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115040"/>
        <c:crosses val="autoZero"/>
        <c:auto val="1"/>
        <c:lblAlgn val="ctr"/>
        <c:lblOffset val="100"/>
        <c:noMultiLvlLbl val="0"/>
      </c:catAx>
      <c:valAx>
        <c:axId val="1025115040"/>
        <c:scaling>
          <c:orientation val="minMax"/>
        </c:scaling>
        <c:delete val="0"/>
        <c:axPos val="l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3499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 Expenses (Year-Ending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86-4827-8E2D-156DBDF7301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86-4827-8E2D-156DBDF7301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886-4827-8E2D-156DBDF7301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886-4827-8E2D-156DBDF73010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886-4827-8E2D-156DBDF73010}"/>
              </c:ext>
            </c:extLst>
          </c:dPt>
          <c:dPt>
            <c:idx val="6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886-4827-8E2D-156DBDF7301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9886-4827-8E2D-156DBDF73010}"/>
              </c:ext>
            </c:extLst>
          </c:dPt>
          <c:cat>
            <c:strRef>
              <c:f>'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886-4827-8E2D-156DBDF73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7253215"/>
        <c:axId val="339906687"/>
      </c:barChart>
      <c:catAx>
        <c:axId val="1772532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9906687"/>
        <c:crosses val="autoZero"/>
        <c:auto val="1"/>
        <c:lblAlgn val="ctr"/>
        <c:lblOffset val="100"/>
        <c:noMultiLvlLbl val="0"/>
      </c:catAx>
      <c:valAx>
        <c:axId val="339906687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2532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Expenses (Year-Ending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AA2-4729-B9B2-336B2C7F2B6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AA2-4729-B9B2-336B2C7F2B6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AA2-4729-B9B2-336B2C7F2B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AA2-4729-B9B2-336B2C7F2B6B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AA2-4729-B9B2-336B2C7F2B6B}"/>
              </c:ext>
            </c:extLst>
          </c:dPt>
          <c:dPt>
            <c:idx val="6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AA2-4729-B9B2-336B2C7F2B6B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0AA2-4729-B9B2-336B2C7F2B6B}"/>
              </c:ext>
            </c:extLst>
          </c:dPt>
          <c:cat>
            <c:strRef>
              <c:f>'Expenses Analysis'!$D$25:$D$3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AA2-4729-B9B2-336B2C7F2B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3226767"/>
        <c:axId val="339913407"/>
      </c:barChart>
      <c:catAx>
        <c:axId val="3432267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9913407"/>
        <c:crosses val="autoZero"/>
        <c:auto val="1"/>
        <c:lblAlgn val="ctr"/>
        <c:lblOffset val="100"/>
        <c:noMultiLvlLbl val="0"/>
      </c:catAx>
      <c:valAx>
        <c:axId val="339913407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32267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5/03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001 Private Water Hedge Sales ($187M) are the most popular, followed by 002 Public Sales ($147M) and lastly </a:t>
            </a:r>
            <a:br>
              <a:rPr lang="en-GB" sz="1400" b="1" dirty="0"/>
            </a:br>
            <a:r>
              <a:rPr lang="en-GB" sz="1400" b="1" dirty="0"/>
              <a:t>003 Residential Sales ($102.5M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31476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A36C9A3-CCC5-C4D0-79A4-04A78791DA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7842517"/>
              </p:ext>
            </p:extLst>
          </p:nvPr>
        </p:nvGraphicFramePr>
        <p:xfrm>
          <a:off x="4594642" y="1946500"/>
          <a:ext cx="4015958" cy="3021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68D5569-3681-6A99-7EFC-CED2A04E8F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1299737"/>
              </p:ext>
            </p:extLst>
          </p:nvPr>
        </p:nvGraphicFramePr>
        <p:xfrm>
          <a:off x="464761" y="1946500"/>
          <a:ext cx="4015958" cy="3021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436.9M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.3M), with </a:t>
            </a:r>
            <a:r>
              <a:rPr lang="en-GB" sz="1400" b="1" dirty="0" err="1"/>
              <a:t>Jutik</a:t>
            </a:r>
            <a:r>
              <a:rPr lang="en-GB" sz="1400" b="1" dirty="0"/>
              <a:t> ($ 163.7M) and </a:t>
            </a:r>
            <a:r>
              <a:rPr lang="en-GB" sz="1400" b="1" dirty="0" err="1"/>
              <a:t>Kootha</a:t>
            </a:r>
            <a:r>
              <a:rPr lang="en-GB" sz="1400" b="1" dirty="0"/>
              <a:t> ($70.9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7F86183-B826-7ADB-A6C4-630AB43020B1}"/>
              </a:ext>
            </a:extLst>
          </p:cNvPr>
          <p:cNvSpPr txBox="1"/>
          <p:nvPr/>
        </p:nvSpPr>
        <p:spPr>
          <a:xfrm>
            <a:off x="94999" y="6310493"/>
            <a:ext cx="843914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Note: This refers to the Total Sales for all 3 Units (</a:t>
            </a:r>
            <a:r>
              <a:rPr lang="en-US" sz="1000" b="1" dirty="0" err="1"/>
              <a:t>Kootha</a:t>
            </a:r>
            <a:r>
              <a:rPr lang="en-US" sz="1000" b="1" dirty="0"/>
              <a:t>, </a:t>
            </a:r>
            <a:r>
              <a:rPr lang="en-US" sz="1000" b="1" dirty="0" err="1"/>
              <a:t>Surjek</a:t>
            </a:r>
            <a:r>
              <a:rPr lang="en-US" sz="1000" b="1" dirty="0"/>
              <a:t> and </a:t>
            </a:r>
            <a:r>
              <a:rPr lang="en-US" sz="1000" b="1" dirty="0" err="1"/>
              <a:t>Jutik</a:t>
            </a:r>
            <a:r>
              <a:rPr lang="en-US" sz="1000" b="1" dirty="0"/>
              <a:t>)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8F4A40B-8C23-4A6E-2888-87C97DBC65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7141639"/>
              </p:ext>
            </p:extLst>
          </p:nvPr>
        </p:nvGraphicFramePr>
        <p:xfrm>
          <a:off x="284438" y="883544"/>
          <a:ext cx="3852996" cy="2523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8A05F59-5766-C5ED-B77B-6D576AFEDB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7251537"/>
              </p:ext>
            </p:extLst>
          </p:nvPr>
        </p:nvGraphicFramePr>
        <p:xfrm>
          <a:off x="4314573" y="883544"/>
          <a:ext cx="3852996" cy="25232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D32D683-2375-B232-B2EF-561FF29B76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6952853"/>
              </p:ext>
            </p:extLst>
          </p:nvPr>
        </p:nvGraphicFramePr>
        <p:xfrm>
          <a:off x="2297540" y="3406836"/>
          <a:ext cx="3852996" cy="2431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Chemical and </a:t>
            </a:r>
            <a:r>
              <a:rPr lang="en-GB" sz="1400" b="1" dirty="0" err="1"/>
              <a:t>Labor</a:t>
            </a:r>
            <a:r>
              <a:rPr lang="en-GB" sz="1400" b="1" dirty="0"/>
              <a:t> Costs, contributing $165M (52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C113BB59-C26A-4B5B-AAC6-AC1F1CBB1AF0}"/>
              </a:ext>
            </a:extLst>
          </p:cNvPr>
          <p:cNvSpPr/>
          <p:nvPr/>
        </p:nvSpPr>
        <p:spPr>
          <a:xfrm>
            <a:off x="303213" y="1238975"/>
            <a:ext cx="3665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br>
              <a:rPr lang="en-AU" sz="1200" b="1" dirty="0"/>
            </a:br>
            <a:endParaRPr lang="en-AU" sz="1200" b="1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2983F7E-BC6A-F341-EB22-6A9CFFFDAD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2785708"/>
              </p:ext>
            </p:extLst>
          </p:nvPr>
        </p:nvGraphicFramePr>
        <p:xfrm>
          <a:off x="2135981" y="937349"/>
          <a:ext cx="4405257" cy="2704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E67F8DB-91AE-69C0-E9FC-80F5554666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9944723"/>
              </p:ext>
            </p:extLst>
          </p:nvPr>
        </p:nvGraphicFramePr>
        <p:xfrm>
          <a:off x="2188396" y="3558012"/>
          <a:ext cx="4502115" cy="3295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$179.3M (56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.2M) and </a:t>
            </a:r>
            <a:r>
              <a:rPr lang="en-GB" sz="1400" b="1" dirty="0" err="1"/>
              <a:t>Jutik</a:t>
            </a:r>
            <a:r>
              <a:rPr lang="en-GB" sz="1400" b="1" dirty="0"/>
              <a:t> ($90.7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FD65F52-3298-183C-AA33-6800841302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5407335"/>
              </p:ext>
            </p:extLst>
          </p:nvPr>
        </p:nvGraphicFramePr>
        <p:xfrm>
          <a:off x="257278" y="865920"/>
          <a:ext cx="3816782" cy="25776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94022E1-5CBC-A05E-1B4E-2FAB38EF7B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0066154"/>
              </p:ext>
            </p:extLst>
          </p:nvPr>
        </p:nvGraphicFramePr>
        <p:xfrm>
          <a:off x="4480719" y="1006247"/>
          <a:ext cx="3816782" cy="2296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F3C59EA-3DA4-6B10-ED90-E074BE7CB8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7109575"/>
              </p:ext>
            </p:extLst>
          </p:nvPr>
        </p:nvGraphicFramePr>
        <p:xfrm>
          <a:off x="2165669" y="3695636"/>
          <a:ext cx="3816782" cy="2296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523E659-7992-4D86-97D9-71CDE4327174}"/>
              </a:ext>
            </a:extLst>
          </p:cNvPr>
          <p:cNvSpPr/>
          <p:nvPr/>
        </p:nvSpPr>
        <p:spPr>
          <a:xfrm>
            <a:off x="303213" y="1238975"/>
            <a:ext cx="3665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br>
              <a:rPr lang="en-AU" sz="1200" b="1" dirty="0"/>
            </a:br>
            <a:endParaRPr lang="en-AU" sz="1200" b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1A62361-F0D2-F39E-CF18-26685EB8BA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0198429"/>
              </p:ext>
            </p:extLst>
          </p:nvPr>
        </p:nvGraphicFramePr>
        <p:xfrm>
          <a:off x="303213" y="1238975"/>
          <a:ext cx="3355055" cy="2342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5A08876-103A-6F24-D94B-9A64798FBD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8224880"/>
              </p:ext>
            </p:extLst>
          </p:nvPr>
        </p:nvGraphicFramePr>
        <p:xfrm>
          <a:off x="4372918" y="1238975"/>
          <a:ext cx="3665537" cy="2468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1BC6751-614A-19B4-2A97-70903C83E6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3682621"/>
              </p:ext>
            </p:extLst>
          </p:nvPr>
        </p:nvGraphicFramePr>
        <p:xfrm>
          <a:off x="2147943" y="3707946"/>
          <a:ext cx="3735301" cy="2342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2.9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2.9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.7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DFA742D-1EDF-745B-501C-4D687C7F06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0254752"/>
              </p:ext>
            </p:extLst>
          </p:nvPr>
        </p:nvGraphicFramePr>
        <p:xfrm>
          <a:off x="2859737" y="3962533"/>
          <a:ext cx="3062575" cy="238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4136EAF-9D43-BC19-FB60-4E8B13A559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1838927"/>
              </p:ext>
            </p:extLst>
          </p:nvPr>
        </p:nvGraphicFramePr>
        <p:xfrm>
          <a:off x="134995" y="927879"/>
          <a:ext cx="3942986" cy="2818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36ABC62-E1E1-743B-0F99-AD77E77052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8934759"/>
              </p:ext>
            </p:extLst>
          </p:nvPr>
        </p:nvGraphicFramePr>
        <p:xfrm>
          <a:off x="4670990" y="943984"/>
          <a:ext cx="3449970" cy="2957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160</TotalTime>
  <Words>451</Words>
  <Application>Microsoft Office PowerPoint</Application>
  <PresentationFormat>Custom</PresentationFormat>
  <Paragraphs>3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001 Private Water Hedge Sales ($187M) are the most popular, followed by 002 Public Sales ($147M) and lastly  003 Residential Sales ($102.5M). </vt:lpstr>
      <vt:lpstr>Of the ($436.9M)¹ in Revenue Sales over the July-2013 to June-2014 Period, Surjek provides close to 50% of Sales Volumes ($202.3M), with Jutik ($ 163.7M) and Kootha ($70.9M) providing the remaining.</vt:lpstr>
      <vt:lpstr>Targeted Expense Analysis reveals an interesting trend; Overall Costs sharply increase from December, with Chemical and Labor Costs, contributing $165M (52%) towards the overall cost-base. </vt:lpstr>
      <vt:lpstr>Further analysis singles-out Surjek with $179.3M (56%) worth of expenses, contrasted to a much lower spend from Kootha ($51.2M) and Jutik ($90.7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2.9M), followed by Surjek ($22.9M) , and lastly Kootha ($19.7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Brandon Chisnell</cp:lastModifiedBy>
  <cp:revision>73</cp:revision>
  <dcterms:created xsi:type="dcterms:W3CDTF">2020-04-12T13:23:13Z</dcterms:created>
  <dcterms:modified xsi:type="dcterms:W3CDTF">2023-03-16T00:59:49Z</dcterms:modified>
</cp:coreProperties>
</file>